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11"/>
  </p:notesMasterIdLst>
  <p:sldIdLst>
    <p:sldId id="256" r:id="rId2"/>
    <p:sldId id="258" r:id="rId3"/>
    <p:sldId id="260" r:id="rId4"/>
    <p:sldId id="261" r:id="rId5"/>
    <p:sldId id="262" r:id="rId6"/>
    <p:sldId id="263" r:id="rId7"/>
    <p:sldId id="264" r:id="rId8"/>
    <p:sldId id="265" r:id="rId9"/>
    <p:sldId id="266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D6412B-D7A9-4CEE-96A9-D137DA64A2EE}" v="179" dt="2021-03-22T08:36:13.9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5" autoAdjust="0"/>
    <p:restoredTop sz="66873" autoAdjust="0"/>
  </p:normalViewPr>
  <p:slideViewPr>
    <p:cSldViewPr snapToGrid="0">
      <p:cViewPr>
        <p:scale>
          <a:sx n="75" d="100"/>
          <a:sy n="75" d="100"/>
        </p:scale>
        <p:origin x="2142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gor Stojanovic" userId="89c1629f-65e0-4913-a593-3d1bbcf29852" providerId="ADAL" clId="{89D6412B-D7A9-4CEE-96A9-D137DA64A2EE}"/>
    <pc:docChg chg="undo custSel addSld delSld modSld">
      <pc:chgData name="Igor Stojanovic" userId="89c1629f-65e0-4913-a593-3d1bbcf29852" providerId="ADAL" clId="{89D6412B-D7A9-4CEE-96A9-D137DA64A2EE}" dt="2021-03-22T08:36:09.387" v="430" actId="47"/>
      <pc:docMkLst>
        <pc:docMk/>
      </pc:docMkLst>
      <pc:sldChg chg="addSp delSp modSp del">
        <pc:chgData name="Igor Stojanovic" userId="89c1629f-65e0-4913-a593-3d1bbcf29852" providerId="ADAL" clId="{89D6412B-D7A9-4CEE-96A9-D137DA64A2EE}" dt="2021-03-22T08:36:09.387" v="430" actId="47"/>
        <pc:sldMkLst>
          <pc:docMk/>
          <pc:sldMk cId="3643302356" sldId="257"/>
        </pc:sldMkLst>
        <pc:spChg chg="del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3" creationId="{8F3D2282-1F30-4752-A378-C25549006071}"/>
          </ac:spMkLst>
        </pc:spChg>
        <pc:spChg chg="add mod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8" creationId="{8BE7D186-B974-460F-B4E9-54F3362DB536}"/>
          </ac:spMkLst>
        </pc:spChg>
        <pc:picChg chg="del">
          <ac:chgData name="Igor Stojanovic" userId="89c1629f-65e0-4913-a593-3d1bbcf29852" providerId="ADAL" clId="{89D6412B-D7A9-4CEE-96A9-D137DA64A2EE}" dt="2021-03-22T08:31:56.940" v="263" actId="21"/>
          <ac:picMkLst>
            <pc:docMk/>
            <pc:sldMk cId="3643302356" sldId="257"/>
            <ac:picMk id="1028" creationId="{A63B4B43-13C6-4DB4-ABC5-752067594CD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28:42.591" v="128" actId="732"/>
        <pc:sldMkLst>
          <pc:docMk/>
          <pc:sldMk cId="1539892328" sldId="265"/>
        </pc:sldMkLst>
        <pc:spChg chg="mod">
          <ac:chgData name="Igor Stojanovic" userId="89c1629f-65e0-4913-a593-3d1bbcf29852" providerId="ADAL" clId="{89D6412B-D7A9-4CEE-96A9-D137DA64A2EE}" dt="2021-03-22T08:28:00.144" v="87" actId="948"/>
          <ac:spMkLst>
            <pc:docMk/>
            <pc:sldMk cId="1539892328" sldId="265"/>
            <ac:spMk id="2" creationId="{D2464FB4-97B0-4B63-8DD9-31D9A5E2A480}"/>
          </ac:spMkLst>
        </pc:spChg>
        <pc:spChg chg="del">
          <ac:chgData name="Igor Stojanovic" userId="89c1629f-65e0-4913-a593-3d1bbcf29852" providerId="ADAL" clId="{89D6412B-D7A9-4CEE-96A9-D137DA64A2EE}" dt="2021-03-22T08:28:32.492" v="127"/>
          <ac:spMkLst>
            <pc:docMk/>
            <pc:sldMk cId="1539892328" sldId="265"/>
            <ac:spMk id="3" creationId="{A711CF56-1F15-4ED7-A64A-3C4183CD5C8B}"/>
          </ac:spMkLst>
        </pc:spChg>
        <pc:spChg chg="add del mod modVis">
          <ac:chgData name="Igor Stojanovic" userId="89c1629f-65e0-4913-a593-3d1bbcf29852" providerId="ADAL" clId="{89D6412B-D7A9-4CEE-96A9-D137DA64A2EE}" dt="2021-03-22T08:27:57.237" v="76"/>
          <ac:spMkLst>
            <pc:docMk/>
            <pc:sldMk cId="1539892328" sldId="265"/>
            <ac:spMk id="5" creationId="{BAC4C836-C10B-4345-8BDB-7426080EC4CF}"/>
          </ac:spMkLst>
        </pc:spChg>
        <pc:spChg chg="add del mod modVis">
          <ac:chgData name="Igor Stojanovic" userId="89c1629f-65e0-4913-a593-3d1bbcf29852" providerId="ADAL" clId="{89D6412B-D7A9-4CEE-96A9-D137DA64A2EE}" dt="2021-03-22T08:28:00.209" v="124"/>
          <ac:spMkLst>
            <pc:docMk/>
            <pc:sldMk cId="1539892328" sldId="265"/>
            <ac:spMk id="6" creationId="{E4C90A23-66E6-4D57-8326-D7E3B34FA506}"/>
          </ac:spMkLst>
        </pc:spChg>
        <pc:graphicFrameChg chg="add mod ord modVis">
          <ac:chgData name="Igor Stojanovic" userId="89c1629f-65e0-4913-a593-3d1bbcf29852" providerId="ADAL" clId="{89D6412B-D7A9-4CEE-96A9-D137DA64A2EE}" dt="2021-03-22T08:28:00.213" v="126"/>
          <ac:graphicFrameMkLst>
            <pc:docMk/>
            <pc:sldMk cId="1539892328" sldId="265"/>
            <ac:graphicFrameMk id="4" creationId="{5DDEC545-62BC-4BAB-8728-9ED27223FF7E}"/>
          </ac:graphicFrameMkLst>
        </pc:graphicFrameChg>
        <pc:picChg chg="add mod">
          <ac:chgData name="Igor Stojanovic" userId="89c1629f-65e0-4913-a593-3d1bbcf29852" providerId="ADAL" clId="{89D6412B-D7A9-4CEE-96A9-D137DA64A2EE}" dt="2021-03-22T08:28:42.591" v="128" actId="732"/>
          <ac:picMkLst>
            <pc:docMk/>
            <pc:sldMk cId="1539892328" sldId="265"/>
            <ac:picMk id="2050" creationId="{A0209A3C-CF02-46BC-8D7F-15BA81E279C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36:00.524" v="429" actId="1035"/>
        <pc:sldMkLst>
          <pc:docMk/>
          <pc:sldMk cId="1363724601" sldId="266"/>
        </pc:sldMkLst>
        <pc:spChg chg="mod">
          <ac:chgData name="Igor Stojanovic" userId="89c1629f-65e0-4913-a593-3d1bbcf29852" providerId="ADAL" clId="{89D6412B-D7A9-4CEE-96A9-D137DA64A2EE}" dt="2021-03-22T08:28:55.432" v="132" actId="948"/>
          <ac:spMkLst>
            <pc:docMk/>
            <pc:sldMk cId="1363724601" sldId="266"/>
            <ac:spMk id="2" creationId="{7207BB10-8406-4737-B0C7-57E19E0EA483}"/>
          </ac:spMkLst>
        </pc:spChg>
        <pc:spChg chg="mod">
          <ac:chgData name="Igor Stojanovic" userId="89c1629f-65e0-4913-a593-3d1bbcf29852" providerId="ADAL" clId="{89D6412B-D7A9-4CEE-96A9-D137DA64A2EE}" dt="2021-03-22T08:35:43.133" v="425" actId="20577"/>
          <ac:spMkLst>
            <pc:docMk/>
            <pc:sldMk cId="1363724601" sldId="266"/>
            <ac:spMk id="3" creationId="{0B60B96C-8BDF-415C-A95A-63410D82D80E}"/>
          </ac:spMkLst>
        </pc:spChg>
        <pc:spChg chg="add del mod modVis">
          <ac:chgData name="Igor Stojanovic" userId="89c1629f-65e0-4913-a593-3d1bbcf29852" providerId="ADAL" clId="{89D6412B-D7A9-4CEE-96A9-D137DA64A2EE}" dt="2021-03-22T08:28:55.505" v="169"/>
          <ac:spMkLst>
            <pc:docMk/>
            <pc:sldMk cId="1363724601" sldId="266"/>
            <ac:spMk id="4" creationId="{700A29EC-F1C4-4485-96C0-73F067F6F0FB}"/>
          </ac:spMkLst>
        </pc:spChg>
        <pc:spChg chg="add mod">
          <ac:chgData name="Igor Stojanovic" userId="89c1629f-65e0-4913-a593-3d1bbcf29852" providerId="ADAL" clId="{89D6412B-D7A9-4CEE-96A9-D137DA64A2EE}" dt="2021-03-22T08:32:01.708" v="265" actId="21"/>
          <ac:spMkLst>
            <pc:docMk/>
            <pc:sldMk cId="1363724601" sldId="266"/>
            <ac:spMk id="6" creationId="{2BDD820F-73A9-4471-8CBD-BCD54D529C97}"/>
          </ac:spMkLst>
        </pc:spChg>
        <pc:graphicFrameChg chg="add mod ord modVis">
          <ac:chgData name="Igor Stojanovic" userId="89c1629f-65e0-4913-a593-3d1bbcf29852" providerId="ADAL" clId="{89D6412B-D7A9-4CEE-96A9-D137DA64A2EE}" dt="2021-03-22T08:28:55.546" v="184"/>
          <ac:graphicFrameMkLst>
            <pc:docMk/>
            <pc:sldMk cId="1363724601" sldId="266"/>
            <ac:graphicFrameMk id="5" creationId="{527EFDB1-B293-4206-8EC1-1D50F92194BF}"/>
          </ac:graphicFrameMkLst>
        </pc:graphicFrameChg>
        <pc:picChg chg="add mod">
          <ac:chgData name="Igor Stojanovic" userId="89c1629f-65e0-4913-a593-3d1bbcf29852" providerId="ADAL" clId="{89D6412B-D7A9-4CEE-96A9-D137DA64A2EE}" dt="2021-03-22T08:36:00.524" v="429" actId="1035"/>
          <ac:picMkLst>
            <pc:docMk/>
            <pc:sldMk cId="1363724601" sldId="266"/>
            <ac:picMk id="7" creationId="{9D65BB3F-94D4-42A7-B193-4E6E4821CF0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77AB6-F33D-41E7-B7FD-D6654F03E7FA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6FFA1C-23A2-4092-8E76-E315B0E5088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2936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UseCases</a:t>
            </a:r>
            <a:r>
              <a:rPr lang="de-DE" dirty="0"/>
              <a:t> aus Aufgabenstellung analysi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SPA Frontend mit Java Backend</a:t>
            </a:r>
          </a:p>
          <a:p>
            <a:pPr marL="171450" indent="-171450">
              <a:buFontTx/>
              <a:buChar char="-"/>
            </a:pPr>
            <a:r>
              <a:rPr lang="de-DE" dirty="0"/>
              <a:t>3-Schichten Architektur mit Controller, Business und Repository-Layer</a:t>
            </a:r>
          </a:p>
          <a:p>
            <a:pPr marL="171450" indent="-171450">
              <a:buFontTx/>
              <a:buChar char="-"/>
            </a:pPr>
            <a:r>
              <a:rPr lang="de-DE" dirty="0"/>
              <a:t>REST-Call wir gefiltert (Authentifizierung, CORS) und an den jeweiligen Controller weitergeleitet</a:t>
            </a:r>
          </a:p>
          <a:p>
            <a:pPr marL="171450" indent="-171450">
              <a:buFontTx/>
              <a:buChar char="-"/>
            </a:pPr>
            <a:r>
              <a:rPr lang="de-DE" dirty="0"/>
              <a:t>Der Controller spricht den Service an. Der Service spricht die Repository-Schicht an, dort werden die Daten aus der DB gelesen und die Modelle instanzii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Die Business-Klassen entsprechen dem vorgegebenen DB – Schema. Zusätzlich wurden die Klassen </a:t>
            </a:r>
            <a:r>
              <a:rPr lang="de-DE" dirty="0" err="1"/>
              <a:t>CourseRating</a:t>
            </a:r>
            <a:r>
              <a:rPr lang="de-DE" dirty="0"/>
              <a:t> und </a:t>
            </a:r>
            <a:r>
              <a:rPr lang="de-DE" dirty="0" err="1"/>
              <a:t>StudentCourseRating</a:t>
            </a:r>
            <a:r>
              <a:rPr lang="de-DE" dirty="0"/>
              <a:t> erstellt, damit alle benötigten Informationen in einer Klasse sin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72333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Überblick als Zentrales Dashboard Rollenübergreifend</a:t>
            </a:r>
          </a:p>
          <a:p>
            <a:pPr marL="171450" indent="-171450">
              <a:buFontTx/>
              <a:buChar char="-"/>
            </a:pPr>
            <a:r>
              <a:rPr lang="de-DE" dirty="0"/>
              <a:t>Kursübersicht für die Rollen Head, Professor und </a:t>
            </a:r>
            <a:r>
              <a:rPr lang="de-DE" dirty="0" err="1"/>
              <a:t>Assistant</a:t>
            </a:r>
            <a:r>
              <a:rPr lang="de-DE" dirty="0"/>
              <a:t> aus der gleichen Vorlage, jedoch werden unterschiedliche Daten dargestellt (nur die Dozenten Kurse z.B.)</a:t>
            </a:r>
          </a:p>
          <a:p>
            <a:pPr marL="171450" indent="-171450">
              <a:buFontTx/>
              <a:buChar char="-"/>
            </a:pPr>
            <a:r>
              <a:rPr lang="de-DE" dirty="0"/>
              <a:t>Eigene View für die Notenübersicht des Studieren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Benachrichtigungsmöglichkeit für die Assistenz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g. wenige </a:t>
            </a:r>
            <a:r>
              <a:rPr lang="de-DE" dirty="0" err="1"/>
              <a:t>clicks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9695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Ausgegraute Module</a:t>
            </a:r>
          </a:p>
          <a:p>
            <a:pPr marL="171450" indent="-171450">
              <a:buFontTx/>
              <a:buChar char="-"/>
            </a:pPr>
            <a:r>
              <a:rPr lang="de-DE" dirty="0"/>
              <a:t>Fehlende Noten</a:t>
            </a:r>
          </a:p>
          <a:p>
            <a:pPr marL="171450" indent="-171450">
              <a:buFontTx/>
              <a:buChar char="-"/>
            </a:pPr>
            <a:r>
              <a:rPr lang="de-DE" dirty="0"/>
              <a:t>Rolle pro CAS</a:t>
            </a:r>
          </a:p>
          <a:p>
            <a:pPr marL="171450" indent="-171450">
              <a:buFontTx/>
              <a:buChar char="-"/>
            </a:pPr>
            <a:r>
              <a:rPr lang="de-DE" dirty="0"/>
              <a:t>Filter nach Semester und fehlende Noten</a:t>
            </a:r>
          </a:p>
          <a:p>
            <a:pPr marL="171450" indent="-171450">
              <a:buFontTx/>
              <a:buChar char="-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6629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Statistik dynamisch</a:t>
            </a:r>
          </a:p>
          <a:p>
            <a:pPr marL="171450" indent="-171450">
              <a:buFontTx/>
              <a:buChar char="-"/>
            </a:pPr>
            <a:r>
              <a:rPr lang="de-DE" dirty="0"/>
              <a:t>Blau -&gt; Durchschnitt</a:t>
            </a:r>
          </a:p>
          <a:p>
            <a:pPr marL="171450" indent="-171450">
              <a:buFontTx/>
              <a:buChar char="-"/>
            </a:pPr>
            <a:r>
              <a:rPr lang="de-DE" dirty="0"/>
              <a:t>Grün -&gt; Bestan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Gelb -&gt; nicht bestan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Rot -&gt; fehlende Noten</a:t>
            </a:r>
          </a:p>
          <a:p>
            <a:pPr marL="171450" indent="-171450">
              <a:buFontTx/>
              <a:buChar char="-"/>
            </a:pPr>
            <a:r>
              <a:rPr lang="de-DE" dirty="0"/>
              <a:t>Grau -&gt; aktuell bearbeitetes Eingabefeld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6014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senden von E-Mail via E-Mail-Client aus Applikatio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3819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8067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Alle Rollen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Optimistic</a:t>
            </a:r>
            <a:r>
              <a:rPr lang="de-DE" dirty="0"/>
              <a:t> </a:t>
            </a:r>
            <a:r>
              <a:rPr lang="de-DE" dirty="0" err="1"/>
              <a:t>Locking</a:t>
            </a:r>
            <a:r>
              <a:rPr lang="de-DE" dirty="0"/>
              <a:t> mit Professor und Head (Fischli und Amrhein)</a:t>
            </a:r>
          </a:p>
          <a:p>
            <a:pPr marL="171450" indent="-171450">
              <a:buFontTx/>
              <a:buChar char="-"/>
            </a:pPr>
            <a:r>
              <a:rPr lang="de-DE" dirty="0"/>
              <a:t>Dynamische Berechnung Noten / Statistiken</a:t>
            </a:r>
          </a:p>
          <a:p>
            <a:pPr marL="171450" indent="-171450">
              <a:buFontTx/>
              <a:buChar char="-"/>
            </a:pPr>
            <a:r>
              <a:rPr lang="de-DE" dirty="0"/>
              <a:t>Filter auf Modulübersicht</a:t>
            </a:r>
          </a:p>
          <a:p>
            <a:pPr marL="171450" indent="-171450">
              <a:buFontTx/>
              <a:buChar char="-"/>
            </a:pPr>
            <a:r>
              <a:rPr lang="de-DE" dirty="0"/>
              <a:t>Notifikation Dozent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Swagger</a:t>
            </a:r>
            <a:r>
              <a:rPr lang="de-DE" dirty="0"/>
              <a:t> </a:t>
            </a:r>
            <a:r>
              <a:rPr lang="de-DE" dirty="0" err="1"/>
              <a:t>UseCase</a:t>
            </a:r>
            <a:r>
              <a:rPr lang="de-DE" dirty="0"/>
              <a:t> (mit nicht berechtigter Rolle)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6FFA1C-23A2-4092-8E76-E315B0E50888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99568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8300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9730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789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8626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de-CH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187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5594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64481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95499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3664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8252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934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E560575E-1F45-4D7B-893C-A9614C9FC59C}" type="datetimeFigureOut">
              <a:rPr lang="de-CH" smtClean="0"/>
              <a:t>23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CH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B648FF8E-AD32-46ED-BB24-5B840C929D2C}" type="slidenum">
              <a:rPr lang="de-CH" smtClean="0"/>
              <a:t>‹Nr.›</a:t>
            </a:fld>
            <a:endParaRPr lang="de-CH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0C6760D-68C8-4263-A2C7-65208F28CE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17537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0C6760D-68C8-4263-A2C7-65208F28C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5657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4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5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4.jpe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8C5300-12BE-4B14-A737-CFCBC55F7F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57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8C5300-12BE-4B14-A737-CFCBC55F7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CEEE3B-7D0B-4DA3-9644-43996511AF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dirty="0"/>
              <a:t>Equa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791263-7376-4A56-8740-B530917548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236980"/>
          </a:xfrm>
        </p:spPr>
        <p:txBody>
          <a:bodyPr>
            <a:normAutofit lnSpcReduction="10000"/>
          </a:bodyPr>
          <a:lstStyle/>
          <a:p>
            <a:r>
              <a:rPr lang="de-CH" dirty="0"/>
              <a:t>Gruppe 1</a:t>
            </a:r>
          </a:p>
          <a:p>
            <a:r>
              <a:rPr lang="de-CH" dirty="0"/>
              <a:t>Raphael Gerber, Christophe Leupi,</a:t>
            </a:r>
          </a:p>
          <a:p>
            <a:r>
              <a:rPr lang="de-CH" dirty="0"/>
              <a:t>Sabina Löffel, Igor Stojanovic</a:t>
            </a:r>
          </a:p>
        </p:txBody>
      </p:sp>
    </p:spTree>
    <p:extLst>
      <p:ext uri="{BB962C8B-B14F-4D97-AF65-F5344CB8AC3E}">
        <p14:creationId xmlns:p14="http://schemas.microsoft.com/office/powerpoint/2010/main" val="3669972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189679-57EC-4062-97D3-CD657C1ED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42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189679-57EC-4062-97D3-CD657C1ED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1D4600-DB62-4732-B024-EE7C978DC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NALYSE UND DESIGN</a:t>
            </a:r>
          </a:p>
        </p:txBody>
      </p:sp>
      <p:pic>
        <p:nvPicPr>
          <p:cNvPr id="6" name="Grafik 17">
            <a:extLst>
              <a:ext uri="{FF2B5EF4-FFF2-40B4-BE49-F238E27FC236}">
                <a16:creationId xmlns:a16="http://schemas.microsoft.com/office/drawing/2014/main" id="{82110B13-5936-4898-B48F-9EB5CD75C3FF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77" y="2353511"/>
            <a:ext cx="2472484" cy="2282658"/>
          </a:xfrm>
          <a:prstGeom prst="rect">
            <a:avLst/>
          </a:prstGeom>
        </p:spPr>
      </p:pic>
      <p:pic>
        <p:nvPicPr>
          <p:cNvPr id="7" name="Grafik 27">
            <a:extLst>
              <a:ext uri="{FF2B5EF4-FFF2-40B4-BE49-F238E27FC236}">
                <a16:creationId xmlns:a16="http://schemas.microsoft.com/office/drawing/2014/main" id="{DB36EEBF-EC17-4F7E-A53D-E48F2AB7A9E8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608" y="1807577"/>
            <a:ext cx="3694581" cy="4062639"/>
          </a:xfrm>
          <a:prstGeom prst="rect">
            <a:avLst/>
          </a:prstGeom>
        </p:spPr>
      </p:pic>
      <p:pic>
        <p:nvPicPr>
          <p:cNvPr id="8" name="Grafik 31">
            <a:extLst>
              <a:ext uri="{FF2B5EF4-FFF2-40B4-BE49-F238E27FC236}">
                <a16:creationId xmlns:a16="http://schemas.microsoft.com/office/drawing/2014/main" id="{C6AA728A-9BCA-469B-9914-4A59A1FA4A26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536" y="1854199"/>
            <a:ext cx="3285832" cy="412079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51B9FDB-DBA2-4F5A-A613-4304ED99A88C}"/>
              </a:ext>
            </a:extLst>
          </p:cNvPr>
          <p:cNvCxnSpPr/>
          <p:nvPr/>
        </p:nvCxnSpPr>
        <p:spPr>
          <a:xfrm>
            <a:off x="3217261" y="3745832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C412240-C99A-4550-92A0-0C9E7C24D8EF}"/>
              </a:ext>
            </a:extLst>
          </p:cNvPr>
          <p:cNvCxnSpPr/>
          <p:nvPr/>
        </p:nvCxnSpPr>
        <p:spPr>
          <a:xfrm>
            <a:off x="7692189" y="37257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785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5CA52E-D1DB-4832-8A59-1460EFD689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21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5CA52E-D1DB-4832-8A59-1460EFD68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229097-3E52-4314-BA19-38A5197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Ergonomie-Überlegungen</a:t>
            </a:r>
          </a:p>
        </p:txBody>
      </p:sp>
      <p:pic>
        <p:nvPicPr>
          <p:cNvPr id="5" name="Grafik 13">
            <a:extLst>
              <a:ext uri="{FF2B5EF4-FFF2-40B4-BE49-F238E27FC236}">
                <a16:creationId xmlns:a16="http://schemas.microsoft.com/office/drawing/2014/main" id="{B025B5DA-7EAB-46F3-853C-BCE039C403D3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661" y="1682720"/>
            <a:ext cx="7702678" cy="503666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273AA9A-3C25-4970-950D-80B83B093482}"/>
              </a:ext>
            </a:extLst>
          </p:cNvPr>
          <p:cNvSpPr/>
          <p:nvPr/>
        </p:nvSpPr>
        <p:spPr>
          <a:xfrm>
            <a:off x="6219825" y="1682720"/>
            <a:ext cx="1762125" cy="39433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0655915-932F-42D9-8D2F-C9A820685BA9}"/>
              </a:ext>
            </a:extLst>
          </p:cNvPr>
          <p:cNvCxnSpPr/>
          <p:nvPr/>
        </p:nvCxnSpPr>
        <p:spPr>
          <a:xfrm>
            <a:off x="7981950" y="27732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A913903-A939-4106-ADA8-A525D75E4BF6}"/>
              </a:ext>
            </a:extLst>
          </p:cNvPr>
          <p:cNvSpPr txBox="1"/>
          <p:nvPr/>
        </p:nvSpPr>
        <p:spPr>
          <a:xfrm>
            <a:off x="8786908" y="2588614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dirty="0"/>
              <a:t>1 Template</a:t>
            </a:r>
          </a:p>
        </p:txBody>
      </p:sp>
    </p:spTree>
    <p:extLst>
      <p:ext uri="{BB962C8B-B14F-4D97-AF65-F5344CB8AC3E}">
        <p14:creationId xmlns:p14="http://schemas.microsoft.com/office/powerpoint/2010/main" val="2820716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24217-2689-442E-87C4-D7319D884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90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24217-2689-442E-87C4-D7319D884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9F4017-1856-4D52-97F2-E3B54249F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Moderne Kacheln in Containern</a:t>
            </a:r>
          </a:p>
        </p:txBody>
      </p:sp>
      <p:pic>
        <p:nvPicPr>
          <p:cNvPr id="4" name="Grafik 21">
            <a:extLst>
              <a:ext uri="{FF2B5EF4-FFF2-40B4-BE49-F238E27FC236}">
                <a16:creationId xmlns:a16="http://schemas.microsoft.com/office/drawing/2014/main" id="{8B752D0E-0EA0-4F24-A1E4-3010EBD8EDBB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r="687" b="-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ECAD2A-1532-4D7F-8743-772EB0C7B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en-US" dirty="0" err="1"/>
              <a:t>Darstellung</a:t>
            </a:r>
            <a:r>
              <a:rPr lang="en-US" dirty="0"/>
              <a:t> der Module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Kacheln</a:t>
            </a:r>
            <a:endParaRPr lang="en-US" dirty="0"/>
          </a:p>
          <a:p>
            <a:r>
              <a:rPr lang="en-US" dirty="0" err="1"/>
              <a:t>Möglichkeit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Filtern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CAS-</a:t>
            </a:r>
            <a:r>
              <a:rPr lang="en-US" dirty="0" err="1"/>
              <a:t>Verantwortliche</a:t>
            </a:r>
            <a:r>
              <a:rPr lang="en-US" dirty="0"/>
              <a:t>, </a:t>
            </a:r>
            <a:r>
              <a:rPr lang="en-US" dirty="0" err="1"/>
              <a:t>Dozierende</a:t>
            </a:r>
            <a:r>
              <a:rPr lang="en-US" dirty="0"/>
              <a:t> und</a:t>
            </a:r>
            <a:br>
              <a:rPr lang="en-US" dirty="0"/>
            </a:br>
            <a:r>
              <a:rPr lang="en-US" dirty="0"/>
              <a:t>CAS-</a:t>
            </a:r>
            <a:r>
              <a:rPr lang="en-US" dirty="0" err="1"/>
              <a:t>Assistenz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191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6CF82-5817-4570-B17B-2B19C4721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86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6CF82-5817-4570-B17B-2B19C4721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83F5A-5E28-46AB-9988-BF1700480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Alles auf einen Bli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19ED9-E29F-4312-96B6-93F42FFEB1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reitstellung der benötigten Informationen auf einen Blick</a:t>
            </a:r>
          </a:p>
          <a:p>
            <a:r>
              <a:rPr lang="de-CH" dirty="0"/>
              <a:t>Hilfestellung mit Farben (Eingabehilfe, Bestanden, Nicht-Bestanden, fehlende Noten, etc.)</a:t>
            </a:r>
          </a:p>
          <a:p>
            <a:r>
              <a:rPr lang="de-CH" dirty="0"/>
              <a:t>Statistiken geben schnellen Überblick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49E17580-1D15-7F47-A167-277C40882D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04" y="2220071"/>
            <a:ext cx="4777941" cy="429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13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F2B7D0-E847-4CE6-90FF-B38F1FFB7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941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F2B7D0-E847-4CE6-90FF-B38F1FFB7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6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C1A9C-DC61-4B09-B56A-68B449B30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Vermeidung von Medienbrüchen</a:t>
            </a:r>
          </a:p>
        </p:txBody>
      </p:sp>
      <p:pic>
        <p:nvPicPr>
          <p:cNvPr id="4" name="Grafik 3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7706A37-7D0B-4201-B389-8639D01F4B39}"/>
              </a:ext>
            </a:extLst>
          </p:cNvPr>
          <p:cNvPicPr/>
          <p:nvPr/>
        </p:nvPicPr>
        <p:blipFill rotWithShape="1">
          <a:blip r:embed="rId8"/>
          <a:srcRect r="735" b="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0BD313-4CB4-4429-9035-39B8EF593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nachrichtigungen möglich, welche über den installierten</a:t>
            </a:r>
            <a:br>
              <a:rPr lang="de-CH" dirty="0"/>
            </a:br>
            <a:r>
              <a:rPr lang="de-CH" dirty="0"/>
              <a:t>E-Mail-Client versendet werden</a:t>
            </a:r>
          </a:p>
          <a:p>
            <a:r>
              <a:rPr lang="de-CH" dirty="0"/>
              <a:t>Vorgefertigte Templates für das Nachfassen bei fehlenden Note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364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DD78E5-F29C-4801-9C9D-A9CDD4B584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51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DD78E5-F29C-4801-9C9D-A9CDD4B58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67FAFF-6076-4BEF-8B58-88B610BD1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pezielles aus der Implementations-ph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0F4876-FAAC-4D4A-8A24-15B6507A97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Dynamischer Aufbau von Containern in der Modulübersicht auf Basis der Anzahl Module </a:t>
            </a:r>
          </a:p>
          <a:p>
            <a:r>
              <a:rPr lang="de-CH" dirty="0"/>
              <a:t>Echtzeit-Berechnungen im Frontend bei Änderungen in den Kursen (Durchschnitte, #Bestandene Studenten, #Nicht-Bestandene Studenten,  etc.)</a:t>
            </a:r>
          </a:p>
          <a:p>
            <a:r>
              <a:rPr lang="de-CH" dirty="0"/>
              <a:t>Überprüfung von Berechtigungen bei der Erfassung / Änderung von Noten </a:t>
            </a:r>
            <a:br>
              <a:rPr lang="de-CH" dirty="0"/>
            </a:br>
            <a:r>
              <a:rPr lang="de-CH" dirty="0"/>
              <a:t>(Status-Code 403 </a:t>
            </a:r>
            <a:r>
              <a:rPr lang="de-CH" dirty="0" err="1"/>
              <a:t>Forbidden</a:t>
            </a:r>
            <a:r>
              <a:rPr lang="de-CH" dirty="0"/>
              <a:t>)</a:t>
            </a:r>
          </a:p>
          <a:p>
            <a:r>
              <a:rPr lang="de-CH" dirty="0"/>
              <a:t>Unterscheidung zwischen Post und Put-</a:t>
            </a:r>
            <a:r>
              <a:rPr lang="de-CH" dirty="0" err="1"/>
              <a:t>Requests</a:t>
            </a:r>
            <a:r>
              <a:rPr lang="de-CH" dirty="0"/>
              <a:t> auf Basis der gespeicherten Versions-Nummern im Frontend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98773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DEC545-62BC-4BAB-8728-9ED27223F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08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DEC545-62BC-4BAB-8728-9ED27223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464FB4-97B0-4B63-8DD9-31D9A5E2A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EMONSTRATION PROTOTYP</a:t>
            </a:r>
          </a:p>
        </p:txBody>
      </p:sp>
      <p:pic>
        <p:nvPicPr>
          <p:cNvPr id="2050" name="Picture 2" descr="Meme: &quot;Enjoy&quot; - All Templates - Meme-arsenal.com">
            <a:extLst>
              <a:ext uri="{FF2B5EF4-FFF2-40B4-BE49-F238E27FC236}">
                <a16:creationId xmlns:a16="http://schemas.microsoft.com/office/drawing/2014/main" id="{A0209A3C-CF02-46BC-8D7F-15BA81E279C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1" b="5407"/>
          <a:stretch/>
        </p:blipFill>
        <p:spPr bwMode="auto">
          <a:xfrm>
            <a:off x="2723092" y="2120900"/>
            <a:ext cx="6735233" cy="383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9892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EFDB1-B293-4206-8EC1-1D50F92194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21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EFDB1-B293-4206-8EC1-1D50F9219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7BB10-8406-4737-B0C7-57E19E0E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Lehren und Erfahrungen aus dem Proje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60B96C-8BDF-415C-A95A-63410D82D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3752" y="2322576"/>
            <a:ext cx="9245727" cy="4050792"/>
          </a:xfrm>
        </p:spPr>
        <p:txBody>
          <a:bodyPr/>
          <a:lstStyle/>
          <a:p>
            <a:r>
              <a:rPr lang="en-US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f you want to go far, go together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Zunächst unterschiedliche Vorstellunge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F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Gruppendiskussion über das beste Vorgehe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t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Einigung auf gemeinsames Vorgehen und fortlaufende Diskussio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N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Kontinuierliche Zusammenarbeit zur Erreichung der Ziele (Performing)</a:t>
            </a:r>
          </a:p>
          <a:p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wagger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 kann mehr als nur API-Dokumentation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Wir können es kaum erwarten, ein Frontend-Framework kennenzulernen</a:t>
            </a:r>
          </a:p>
          <a:p>
            <a:endParaRPr lang="de-CH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US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CH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BDD820F-73A9-4471-8CBD-BCD54D529C97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dirty="0"/>
          </a:p>
          <a:p>
            <a:endParaRPr lang="de-CH" dirty="0"/>
          </a:p>
        </p:txBody>
      </p:sp>
      <p:pic>
        <p:nvPicPr>
          <p:cNvPr id="7" name="Picture 4" descr="Tuckman-Edison Model – Vagile">
            <a:extLst>
              <a:ext uri="{FF2B5EF4-FFF2-40B4-BE49-F238E27FC236}">
                <a16:creationId xmlns:a16="http://schemas.microsoft.com/office/drawing/2014/main" id="{9D65BB3F-94D4-42A7-B193-4E6E4821CF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7" t="14766" r="10772" b="11263"/>
          <a:stretch/>
        </p:blipFill>
        <p:spPr bwMode="auto">
          <a:xfrm>
            <a:off x="7800974" y="1260729"/>
            <a:ext cx="3932823" cy="218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72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0</TotalTime>
  <Words>431</Words>
  <Application>Microsoft Office PowerPoint</Application>
  <PresentationFormat>Breitbild</PresentationFormat>
  <Paragraphs>67</Paragraphs>
  <Slides>9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rial</vt:lpstr>
      <vt:lpstr>Calibri</vt:lpstr>
      <vt:lpstr>Rockwell</vt:lpstr>
      <vt:lpstr>Rockwell Condensed</vt:lpstr>
      <vt:lpstr>Rockwell Extra Bold</vt:lpstr>
      <vt:lpstr>Wingdings</vt:lpstr>
      <vt:lpstr>Wood Type</vt:lpstr>
      <vt:lpstr>think-cell Slide</vt:lpstr>
      <vt:lpstr>Equals</vt:lpstr>
      <vt:lpstr>ANALYSE UND DESIGN</vt:lpstr>
      <vt:lpstr>Ergonomie-Überlegungen</vt:lpstr>
      <vt:lpstr>Moderne Kacheln in Containern</vt:lpstr>
      <vt:lpstr>Alles auf einen Blick</vt:lpstr>
      <vt:lpstr>Vermeidung von Medienbrüchen</vt:lpstr>
      <vt:lpstr>Spezielles aus der Implementations-phase</vt:lpstr>
      <vt:lpstr>DEMONSTRATION PROTOTYP</vt:lpstr>
      <vt:lpstr>Lehren und Erfahrungen aus dem Proje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quals</dc:title>
  <dc:creator>Igor Stojanovic</dc:creator>
  <cp:lastModifiedBy>Christophe Leupi</cp:lastModifiedBy>
  <cp:revision>9</cp:revision>
  <dcterms:created xsi:type="dcterms:W3CDTF">2021-03-22T08:01:44Z</dcterms:created>
  <dcterms:modified xsi:type="dcterms:W3CDTF">2021-03-23T10:2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72d46b7-7eb3-4256-b21d-0b88cbf81fa2_Enabled">
    <vt:lpwstr>true</vt:lpwstr>
  </property>
  <property fmtid="{D5CDD505-2E9C-101B-9397-08002B2CF9AE}" pid="3" name="MSIP_Label_572d46b7-7eb3-4256-b21d-0b88cbf81fa2_SetDate">
    <vt:lpwstr>2021-03-22T08:27:25Z</vt:lpwstr>
  </property>
  <property fmtid="{D5CDD505-2E9C-101B-9397-08002B2CF9AE}" pid="4" name="MSIP_Label_572d46b7-7eb3-4256-b21d-0b88cbf81fa2_Method">
    <vt:lpwstr>Privileged</vt:lpwstr>
  </property>
  <property fmtid="{D5CDD505-2E9C-101B-9397-08002B2CF9AE}" pid="5" name="MSIP_Label_572d46b7-7eb3-4256-b21d-0b88cbf81fa2_Name">
    <vt:lpwstr>572d46b7-7eb3-4256-b21d-0b88cbf81fa2</vt:lpwstr>
  </property>
  <property fmtid="{D5CDD505-2E9C-101B-9397-08002B2CF9AE}" pid="6" name="MSIP_Label_572d46b7-7eb3-4256-b21d-0b88cbf81fa2_SiteId">
    <vt:lpwstr>af7227b1-ac3a-4487-9e9f-ba462bb409d4</vt:lpwstr>
  </property>
  <property fmtid="{D5CDD505-2E9C-101B-9397-08002B2CF9AE}" pid="7" name="MSIP_Label_572d46b7-7eb3-4256-b21d-0b88cbf81fa2_ActionId">
    <vt:lpwstr>59b51ef1-1037-4d82-a2a2-282dcb7abe70</vt:lpwstr>
  </property>
  <property fmtid="{D5CDD505-2E9C-101B-9397-08002B2CF9AE}" pid="8" name="MSIP_Label_572d46b7-7eb3-4256-b21d-0b88cbf81fa2_ContentBits">
    <vt:lpwstr>0</vt:lpwstr>
  </property>
</Properties>
</file>